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3"/>
  </p:notesMasterIdLst>
  <p:handoutMasterIdLst>
    <p:handoutMasterId r:id="rId14"/>
  </p:handoutMasterIdLst>
  <p:sldIdLst>
    <p:sldId id="1277" r:id="rId3"/>
    <p:sldId id="1293" r:id="rId4"/>
    <p:sldId id="1294" r:id="rId5"/>
    <p:sldId id="1296" r:id="rId6"/>
    <p:sldId id="1371" r:id="rId7"/>
    <p:sldId id="1373" r:id="rId8"/>
    <p:sldId id="1343" r:id="rId9"/>
    <p:sldId id="1344" r:id="rId10"/>
    <p:sldId id="1345" r:id="rId11"/>
    <p:sldId id="1346" r:id="rId12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71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94" d="100"/>
          <a:sy n="94" d="100"/>
        </p:scale>
        <p:origin x="446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8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8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515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8. </a:t>
            </a:r>
            <a:r>
              <a:rPr lang="cs-CZ" b="1" dirty="0" smtClean="0"/>
              <a:t>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494973"/>
              </p:ext>
            </p:extLst>
          </p:nvPr>
        </p:nvGraphicFramePr>
        <p:xfrm>
          <a:off x="372867" y="838718"/>
          <a:ext cx="11435203" cy="5212442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nace počtu C19 hospitalizovaných na standardních odděleních i v intenzivní péči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éči se daří zajistit za cenu omezení elektivní péče i výpomoci AČR/HZS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JIPy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á.</a:t>
                      </a:r>
                    </a:p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inemocniční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ransporty v rámci kraje.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akt. “stabilizovaná“ – snížil se počet nově přijímaných COVID pacientů. 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IP problém s velkým počtem post-COVID pacientů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18.12.2021 00:20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870</a:t>
            </a:r>
            <a:endParaRPr lang="cs-CZ" b="1" dirty="0" smtClean="0"/>
          </a:p>
          <a:p>
            <a:pPr algn="ctr"/>
            <a:endParaRPr lang="cs-CZ" sz="2000" b="1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5185363"/>
              </p:ext>
            </p:extLst>
          </p:nvPr>
        </p:nvGraphicFramePr>
        <p:xfrm>
          <a:off x="400049" y="985799"/>
          <a:ext cx="10017579" cy="5391460"/>
        </p:xfrm>
        <a:graphic>
          <a:graphicData uri="http://schemas.openxmlformats.org/drawingml/2006/table">
            <a:tbl>
              <a:tblPr/>
              <a:tblGrid>
                <a:gridCol w="2199266">
                  <a:extLst>
                    <a:ext uri="{9D8B030D-6E8A-4147-A177-3AD203B41FA5}">
                      <a16:colId xmlns:a16="http://schemas.microsoft.com/office/drawing/2014/main" val="1978333794"/>
                    </a:ext>
                  </a:extLst>
                </a:gridCol>
                <a:gridCol w="1252562">
                  <a:extLst>
                    <a:ext uri="{9D8B030D-6E8A-4147-A177-3AD203B41FA5}">
                      <a16:colId xmlns:a16="http://schemas.microsoft.com/office/drawing/2014/main" val="1746366808"/>
                    </a:ext>
                  </a:extLst>
                </a:gridCol>
                <a:gridCol w="1237996">
                  <a:extLst>
                    <a:ext uri="{9D8B030D-6E8A-4147-A177-3AD203B41FA5}">
                      <a16:colId xmlns:a16="http://schemas.microsoft.com/office/drawing/2014/main" val="2009180215"/>
                    </a:ext>
                  </a:extLst>
                </a:gridCol>
                <a:gridCol w="1237996">
                  <a:extLst>
                    <a:ext uri="{9D8B030D-6E8A-4147-A177-3AD203B41FA5}">
                      <a16:colId xmlns:a16="http://schemas.microsoft.com/office/drawing/2014/main" val="4249900467"/>
                    </a:ext>
                  </a:extLst>
                </a:gridCol>
                <a:gridCol w="1296256">
                  <a:extLst>
                    <a:ext uri="{9D8B030D-6E8A-4147-A177-3AD203B41FA5}">
                      <a16:colId xmlns:a16="http://schemas.microsoft.com/office/drawing/2014/main" val="497418665"/>
                    </a:ext>
                  </a:extLst>
                </a:gridCol>
                <a:gridCol w="1031178">
                  <a:extLst>
                    <a:ext uri="{9D8B030D-6E8A-4147-A177-3AD203B41FA5}">
                      <a16:colId xmlns:a16="http://schemas.microsoft.com/office/drawing/2014/main" val="4278013182"/>
                    </a:ext>
                  </a:extLst>
                </a:gridCol>
                <a:gridCol w="1762325">
                  <a:extLst>
                    <a:ext uri="{9D8B030D-6E8A-4147-A177-3AD203B41FA5}">
                      <a16:colId xmlns:a16="http://schemas.microsoft.com/office/drawing/2014/main" val="3325821686"/>
                    </a:ext>
                  </a:extLst>
                </a:gridCol>
              </a:tblGrid>
              <a:tr h="205293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1729925"/>
                  </a:ext>
                </a:extLst>
              </a:tr>
              <a:tr h="205293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8.12. 2021, 11:30 h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5470887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191310"/>
                  </a:ext>
                </a:extLst>
              </a:tr>
              <a:tr h="19044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9530053"/>
                  </a:ext>
                </a:extLst>
              </a:tr>
              <a:tr h="70972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6078741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7355617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6477058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7871170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6885685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4634337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032740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7727929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6912785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82237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2817327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9488844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8608560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3652888"/>
                  </a:ext>
                </a:extLst>
              </a:tr>
              <a:tr h="19796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5587808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7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4</a:t>
                      </a: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5268" marR="5268" marT="52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4762936"/>
                  </a:ext>
                </a:extLst>
              </a:tr>
              <a:tr h="190445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6565736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179274"/>
                  </a:ext>
                </a:extLst>
              </a:tr>
              <a:tr h="19044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2000716"/>
                  </a:ext>
                </a:extLst>
              </a:tr>
              <a:tr h="190445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x</a:t>
                      </a: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8" marR="5268" marT="52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8802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9640502"/>
              </p:ext>
            </p:extLst>
          </p:nvPr>
        </p:nvGraphicFramePr>
        <p:xfrm>
          <a:off x="332819" y="992978"/>
          <a:ext cx="9733744" cy="5340347"/>
        </p:xfrm>
        <a:graphic>
          <a:graphicData uri="http://schemas.openxmlformats.org/drawingml/2006/table">
            <a:tbl>
              <a:tblPr/>
              <a:tblGrid>
                <a:gridCol w="2136954">
                  <a:extLst>
                    <a:ext uri="{9D8B030D-6E8A-4147-A177-3AD203B41FA5}">
                      <a16:colId xmlns:a16="http://schemas.microsoft.com/office/drawing/2014/main" val="2283861800"/>
                    </a:ext>
                  </a:extLst>
                </a:gridCol>
                <a:gridCol w="1217072">
                  <a:extLst>
                    <a:ext uri="{9D8B030D-6E8A-4147-A177-3AD203B41FA5}">
                      <a16:colId xmlns:a16="http://schemas.microsoft.com/office/drawing/2014/main" val="1341894875"/>
                    </a:ext>
                  </a:extLst>
                </a:gridCol>
                <a:gridCol w="1202919">
                  <a:extLst>
                    <a:ext uri="{9D8B030D-6E8A-4147-A177-3AD203B41FA5}">
                      <a16:colId xmlns:a16="http://schemas.microsoft.com/office/drawing/2014/main" val="854955279"/>
                    </a:ext>
                  </a:extLst>
                </a:gridCol>
                <a:gridCol w="1202919">
                  <a:extLst>
                    <a:ext uri="{9D8B030D-6E8A-4147-A177-3AD203B41FA5}">
                      <a16:colId xmlns:a16="http://schemas.microsoft.com/office/drawing/2014/main" val="3319426339"/>
                    </a:ext>
                  </a:extLst>
                </a:gridCol>
                <a:gridCol w="1259527">
                  <a:extLst>
                    <a:ext uri="{9D8B030D-6E8A-4147-A177-3AD203B41FA5}">
                      <a16:colId xmlns:a16="http://schemas.microsoft.com/office/drawing/2014/main" val="125164994"/>
                    </a:ext>
                  </a:extLst>
                </a:gridCol>
                <a:gridCol w="1001961">
                  <a:extLst>
                    <a:ext uri="{9D8B030D-6E8A-4147-A177-3AD203B41FA5}">
                      <a16:colId xmlns:a16="http://schemas.microsoft.com/office/drawing/2014/main" val="2642900105"/>
                    </a:ext>
                  </a:extLst>
                </a:gridCol>
                <a:gridCol w="1712392">
                  <a:extLst>
                    <a:ext uri="{9D8B030D-6E8A-4147-A177-3AD203B41FA5}">
                      <a16:colId xmlns:a16="http://schemas.microsoft.com/office/drawing/2014/main" val="3663010972"/>
                    </a:ext>
                  </a:extLst>
                </a:gridCol>
              </a:tblGrid>
              <a:tr h="18171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1441501"/>
                  </a:ext>
                </a:extLst>
              </a:tr>
              <a:tr h="181715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8.12. 2021, 11:30 h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5911660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2948308"/>
                  </a:ext>
                </a:extLst>
              </a:tr>
              <a:tr h="18171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6073188"/>
                  </a:ext>
                </a:extLst>
              </a:tr>
              <a:tr h="66198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1479692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7532576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0499152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957602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4622960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1519235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2065252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195547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6802032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0458766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2604268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1983589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0517399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5803777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1298818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8060490"/>
                  </a:ext>
                </a:extLst>
              </a:tr>
              <a:tr h="181715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5345272"/>
                  </a:ext>
                </a:extLst>
              </a:tr>
              <a:tr h="6231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216450"/>
                  </a:ext>
                </a:extLst>
              </a:tr>
              <a:tr h="1817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9686083"/>
                  </a:ext>
                </a:extLst>
              </a:tr>
              <a:tr h="181715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x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89156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18.12.2021 00:20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4</a:t>
            </a:r>
            <a:r>
              <a:rPr lang="cs-CZ" sz="2000" b="1" dirty="0"/>
              <a:t> </a:t>
            </a:r>
            <a:r>
              <a:rPr lang="cs-CZ" sz="2000" b="1" dirty="0" smtClean="0"/>
              <a:t>396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2121731"/>
              </p:ext>
            </p:extLst>
          </p:nvPr>
        </p:nvGraphicFramePr>
        <p:xfrm>
          <a:off x="332818" y="955218"/>
          <a:ext cx="8288668" cy="5475720"/>
        </p:xfrm>
        <a:graphic>
          <a:graphicData uri="http://schemas.openxmlformats.org/drawingml/2006/table">
            <a:tbl>
              <a:tblPr/>
              <a:tblGrid>
                <a:gridCol w="1753908">
                  <a:extLst>
                    <a:ext uri="{9D8B030D-6E8A-4147-A177-3AD203B41FA5}">
                      <a16:colId xmlns:a16="http://schemas.microsoft.com/office/drawing/2014/main" val="3165430573"/>
                    </a:ext>
                  </a:extLst>
                </a:gridCol>
                <a:gridCol w="998914">
                  <a:extLst>
                    <a:ext uri="{9D8B030D-6E8A-4147-A177-3AD203B41FA5}">
                      <a16:colId xmlns:a16="http://schemas.microsoft.com/office/drawing/2014/main" val="1686235429"/>
                    </a:ext>
                  </a:extLst>
                </a:gridCol>
                <a:gridCol w="987299">
                  <a:extLst>
                    <a:ext uri="{9D8B030D-6E8A-4147-A177-3AD203B41FA5}">
                      <a16:colId xmlns:a16="http://schemas.microsoft.com/office/drawing/2014/main" val="2113869020"/>
                    </a:ext>
                  </a:extLst>
                </a:gridCol>
                <a:gridCol w="987299">
                  <a:extLst>
                    <a:ext uri="{9D8B030D-6E8A-4147-A177-3AD203B41FA5}">
                      <a16:colId xmlns:a16="http://schemas.microsoft.com/office/drawing/2014/main" val="3533701728"/>
                    </a:ext>
                  </a:extLst>
                </a:gridCol>
                <a:gridCol w="1033761">
                  <a:extLst>
                    <a:ext uri="{9D8B030D-6E8A-4147-A177-3AD203B41FA5}">
                      <a16:colId xmlns:a16="http://schemas.microsoft.com/office/drawing/2014/main" val="3606107671"/>
                    </a:ext>
                  </a:extLst>
                </a:gridCol>
                <a:gridCol w="1405450">
                  <a:extLst>
                    <a:ext uri="{9D8B030D-6E8A-4147-A177-3AD203B41FA5}">
                      <a16:colId xmlns:a16="http://schemas.microsoft.com/office/drawing/2014/main" val="4255200818"/>
                    </a:ext>
                  </a:extLst>
                </a:gridCol>
                <a:gridCol w="1122037">
                  <a:extLst>
                    <a:ext uri="{9D8B030D-6E8A-4147-A177-3AD203B41FA5}">
                      <a16:colId xmlns:a16="http://schemas.microsoft.com/office/drawing/2014/main" val="2509372093"/>
                    </a:ext>
                  </a:extLst>
                </a:gridCol>
              </a:tblGrid>
              <a:tr h="185592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5342914"/>
                  </a:ext>
                </a:extLst>
              </a:tr>
              <a:tr h="185592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8.12. 2021, 11:30 h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3971585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227935"/>
                  </a:ext>
                </a:extLst>
              </a:tr>
              <a:tr h="18559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4730306"/>
                  </a:ext>
                </a:extLst>
              </a:tr>
              <a:tr h="54715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8910727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5240356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064689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061952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269909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7695385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322244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2393800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867715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38474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3224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0822072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454400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7272497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3818668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1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5539624"/>
                  </a:ext>
                </a:extLst>
              </a:tr>
              <a:tr h="185592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7516868"/>
                  </a:ext>
                </a:extLst>
              </a:tr>
              <a:tr h="185592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8993163"/>
                  </a:ext>
                </a:extLst>
              </a:tr>
              <a:tr h="36637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6874468"/>
                  </a:ext>
                </a:extLst>
              </a:tr>
              <a:tr h="185592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x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80493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9300685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18.12.2021 00:20 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 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5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266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732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51,9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870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72 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,3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590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67,8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1 984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37,7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396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78 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7,1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188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49,8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653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8645193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2.2021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cs-CZ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637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,7 </a:t>
                      </a:r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9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87313" y="3565694"/>
            <a:ext cx="10568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Za 16.12. bylo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318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nově přijatých pac. a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532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propuštěných.</a:t>
            </a:r>
            <a:endParaRPr lang="cs-CZ" dirty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KKIP – bez požadavků na mezikrajové překlady. Situace v krajích neměnná (omezený personál, zastavená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), ale dochází k mírnému zlepšení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606585"/>
            <a:ext cx="525489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é kapacity JIP v tomto týdnu začaly stoupat a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. Lůžka jsou, ale stále obsazena post COVID pacienty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4605541"/>
              </p:ext>
            </p:extLst>
          </p:nvPr>
        </p:nvGraphicFramePr>
        <p:xfrm>
          <a:off x="332646" y="832094"/>
          <a:ext cx="11405086" cy="4634831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5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a 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mocnice na Bulovce hlásí kapacitní problémy na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je nadále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Onkologická aj. neodkladná operativa běží bez omez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se ale pozvolna zlepšuje, alespoň z pohledu standardních oddělení, maximalizovány kapacity standardní i intenzivní péče, rezerva lůžek zůstává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iziková je nadále intenzivní péče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1436676"/>
              </p:ext>
            </p:extLst>
          </p:nvPr>
        </p:nvGraphicFramePr>
        <p:xfrm>
          <a:off x="279292" y="841021"/>
          <a:ext cx="11587543" cy="4804027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1889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 ve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éči vzhledem k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Omezená možnost překladů již neinfekčních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.</a:t>
                      </a: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8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neměnná v porovnání s předchozím týdnem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péči. 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8781111"/>
              </p:ext>
            </p:extLst>
          </p:nvPr>
        </p:nvGraphicFramePr>
        <p:xfrm>
          <a:off x="350228" y="708347"/>
          <a:ext cx="11519385" cy="586334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40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7473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3591</TotalTime>
  <Words>1886</Words>
  <Application>Microsoft Office PowerPoint</Application>
  <PresentationFormat>Širokoúhlá obrazovka</PresentationFormat>
  <Paragraphs>538</Paragraphs>
  <Slides>10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0</vt:i4>
      </vt:variant>
    </vt:vector>
  </HeadingPairs>
  <TitlesOfParts>
    <vt:vector size="17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DLP – Stav očkování u hospitalizovaných pacientů</vt:lpstr>
      <vt:lpstr>NDLP - Souhrn - aktualizace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kiri29.dk@gmail.com</cp:lastModifiedBy>
  <cp:revision>1756</cp:revision>
  <cp:lastPrinted>2020-10-20T04:21:56Z</cp:lastPrinted>
  <dcterms:created xsi:type="dcterms:W3CDTF">2020-07-15T10:33:32Z</dcterms:created>
  <dcterms:modified xsi:type="dcterms:W3CDTF">2021-12-18T12:48:50Z</dcterms:modified>
</cp:coreProperties>
</file>